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494033-0E24-4ED6-8C62-AEF2F0232873}" v="58" dt="2023-03-06T23:24:29.6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C494033-0E24-4ED6-8C62-AEF2F0232873}"/>
    <pc:docChg chg="custSel addSld delSld modSld">
      <pc:chgData name="Roberto Gallardo" userId="49a044883f185952" providerId="LiveId" clId="{5C494033-0E24-4ED6-8C62-AEF2F0232873}" dt="2023-03-06T23:24:18.107" v="213"/>
      <pc:docMkLst>
        <pc:docMk/>
      </pc:docMkLst>
      <pc:sldChg chg="del">
        <pc:chgData name="Roberto Gallardo" userId="49a044883f185952" providerId="LiveId" clId="{5C494033-0E24-4ED6-8C62-AEF2F0232873}" dt="2023-02-25T14:59:04.914" v="4" actId="47"/>
        <pc:sldMkLst>
          <pc:docMk/>
          <pc:sldMk cId="1175010214" sldId="261"/>
        </pc:sldMkLst>
      </pc:sldChg>
      <pc:sldChg chg="addSp modSp mod">
        <pc:chgData name="Roberto Gallardo" userId="49a044883f185952" providerId="LiveId" clId="{5C494033-0E24-4ED6-8C62-AEF2F0232873}" dt="2023-03-06T23:15:57.646" v="13" actId="1076"/>
        <pc:sldMkLst>
          <pc:docMk/>
          <pc:sldMk cId="1418533539" sldId="271"/>
        </pc:sldMkLst>
        <pc:picChg chg="add mod">
          <ac:chgData name="Roberto Gallardo" userId="49a044883f185952" providerId="LiveId" clId="{5C494033-0E24-4ED6-8C62-AEF2F0232873}" dt="2023-03-06T23:15:57.646" v="13" actId="1076"/>
          <ac:picMkLst>
            <pc:docMk/>
            <pc:sldMk cId="1418533539" sldId="271"/>
            <ac:picMk id="6" creationId="{6BCC2D2F-92EF-791A-062B-482B82F0D755}"/>
          </ac:picMkLst>
        </pc:picChg>
      </pc:sldChg>
      <pc:sldChg chg="addSp modSp mod">
        <pc:chgData name="Roberto Gallardo" userId="49a044883f185952" providerId="LiveId" clId="{5C494033-0E24-4ED6-8C62-AEF2F0232873}" dt="2023-03-06T23:18:02.577" v="70" actId="1076"/>
        <pc:sldMkLst>
          <pc:docMk/>
          <pc:sldMk cId="2124848710" sldId="281"/>
        </pc:sldMkLst>
        <pc:picChg chg="add mod">
          <ac:chgData name="Roberto Gallardo" userId="49a044883f185952" providerId="LiveId" clId="{5C494033-0E24-4ED6-8C62-AEF2F0232873}" dt="2023-03-06T23:18:02.577" v="70" actId="1076"/>
          <ac:picMkLst>
            <pc:docMk/>
            <pc:sldMk cId="2124848710" sldId="281"/>
            <ac:picMk id="6" creationId="{871376C5-E76F-E364-9FC1-D118E0C88206}"/>
          </ac:picMkLst>
        </pc:picChg>
      </pc:sldChg>
      <pc:sldChg chg="addSp modSp mod">
        <pc:chgData name="Roberto Gallardo" userId="49a044883f185952" providerId="LiveId" clId="{5C494033-0E24-4ED6-8C62-AEF2F0232873}" dt="2023-03-06T23:18:33.313" v="80" actId="1076"/>
        <pc:sldMkLst>
          <pc:docMk/>
          <pc:sldMk cId="2028175529" sldId="282"/>
        </pc:sldMkLst>
        <pc:picChg chg="add mod">
          <ac:chgData name="Roberto Gallardo" userId="49a044883f185952" providerId="LiveId" clId="{5C494033-0E24-4ED6-8C62-AEF2F0232873}" dt="2023-03-06T23:18:33.313" v="80" actId="1076"/>
          <ac:picMkLst>
            <pc:docMk/>
            <pc:sldMk cId="2028175529" sldId="282"/>
            <ac:picMk id="7" creationId="{510E7E72-0E42-8082-F55A-35D65838857D}"/>
          </ac:picMkLst>
        </pc:picChg>
      </pc:sldChg>
      <pc:sldChg chg="addSp modSp mod">
        <pc:chgData name="Roberto Gallardo" userId="49a044883f185952" providerId="LiveId" clId="{5C494033-0E24-4ED6-8C62-AEF2F0232873}" dt="2023-03-06T23:18:51.690" v="90" actId="1076"/>
        <pc:sldMkLst>
          <pc:docMk/>
          <pc:sldMk cId="1326517747" sldId="283"/>
        </pc:sldMkLst>
        <pc:picChg chg="add mod">
          <ac:chgData name="Roberto Gallardo" userId="49a044883f185952" providerId="LiveId" clId="{5C494033-0E24-4ED6-8C62-AEF2F0232873}" dt="2023-03-06T23:18:51.690" v="90" actId="1076"/>
          <ac:picMkLst>
            <pc:docMk/>
            <pc:sldMk cId="1326517747" sldId="283"/>
            <ac:picMk id="7" creationId="{5FA67B72-BF22-BFFA-E47D-5FBCAD519480}"/>
          </ac:picMkLst>
        </pc:picChg>
      </pc:sldChg>
      <pc:sldChg chg="addSp modSp mod">
        <pc:chgData name="Roberto Gallardo" userId="49a044883f185952" providerId="LiveId" clId="{5C494033-0E24-4ED6-8C62-AEF2F0232873}" dt="2023-03-06T23:19:17.598" v="98" actId="1076"/>
        <pc:sldMkLst>
          <pc:docMk/>
          <pc:sldMk cId="783739251" sldId="284"/>
        </pc:sldMkLst>
        <pc:picChg chg="add mod">
          <ac:chgData name="Roberto Gallardo" userId="49a044883f185952" providerId="LiveId" clId="{5C494033-0E24-4ED6-8C62-AEF2F0232873}" dt="2023-03-06T23:19:17.598" v="98" actId="1076"/>
          <ac:picMkLst>
            <pc:docMk/>
            <pc:sldMk cId="783739251" sldId="284"/>
            <ac:picMk id="7" creationId="{CB8B58AF-AFC3-9295-44F3-18F88895B70D}"/>
          </ac:picMkLst>
        </pc:picChg>
      </pc:sldChg>
      <pc:sldChg chg="addSp modSp mod">
        <pc:chgData name="Roberto Gallardo" userId="49a044883f185952" providerId="LiveId" clId="{5C494033-0E24-4ED6-8C62-AEF2F0232873}" dt="2023-03-06T23:19:43.502" v="112" actId="1076"/>
        <pc:sldMkLst>
          <pc:docMk/>
          <pc:sldMk cId="1676122233" sldId="285"/>
        </pc:sldMkLst>
        <pc:picChg chg="add mod">
          <ac:chgData name="Roberto Gallardo" userId="49a044883f185952" providerId="LiveId" clId="{5C494033-0E24-4ED6-8C62-AEF2F0232873}" dt="2023-03-06T23:19:43.502" v="112" actId="1076"/>
          <ac:picMkLst>
            <pc:docMk/>
            <pc:sldMk cId="1676122233" sldId="285"/>
            <ac:picMk id="7" creationId="{49E2E3FE-F0FB-5DB2-EC63-8149A5A18EC8}"/>
          </ac:picMkLst>
        </pc:picChg>
      </pc:sldChg>
      <pc:sldChg chg="addSp modSp mod">
        <pc:chgData name="Roberto Gallardo" userId="49a044883f185952" providerId="LiveId" clId="{5C494033-0E24-4ED6-8C62-AEF2F0232873}" dt="2023-03-06T23:20:00.486" v="121" actId="1076"/>
        <pc:sldMkLst>
          <pc:docMk/>
          <pc:sldMk cId="3100398757" sldId="286"/>
        </pc:sldMkLst>
        <pc:picChg chg="add mod">
          <ac:chgData name="Roberto Gallardo" userId="49a044883f185952" providerId="LiveId" clId="{5C494033-0E24-4ED6-8C62-AEF2F0232873}" dt="2023-03-06T23:20:00.486" v="121" actId="1076"/>
          <ac:picMkLst>
            <pc:docMk/>
            <pc:sldMk cId="3100398757" sldId="286"/>
            <ac:picMk id="7" creationId="{B11A65D2-38A3-D410-411B-88AC64A1701E}"/>
          </ac:picMkLst>
        </pc:picChg>
      </pc:sldChg>
      <pc:sldChg chg="addSp modSp mod">
        <pc:chgData name="Roberto Gallardo" userId="49a044883f185952" providerId="LiveId" clId="{5C494033-0E24-4ED6-8C62-AEF2F0232873}" dt="2023-03-06T23:20:17.182" v="130" actId="1076"/>
        <pc:sldMkLst>
          <pc:docMk/>
          <pc:sldMk cId="1546475425" sldId="287"/>
        </pc:sldMkLst>
        <pc:picChg chg="add mod">
          <ac:chgData name="Roberto Gallardo" userId="49a044883f185952" providerId="LiveId" clId="{5C494033-0E24-4ED6-8C62-AEF2F0232873}" dt="2023-03-06T23:20:17.182" v="130" actId="1076"/>
          <ac:picMkLst>
            <pc:docMk/>
            <pc:sldMk cId="1546475425" sldId="287"/>
            <ac:picMk id="7" creationId="{506FD699-3474-EA0C-C68E-9D187F4CD3E6}"/>
          </ac:picMkLst>
        </pc:picChg>
      </pc:sldChg>
      <pc:sldChg chg="addSp modSp mod">
        <pc:chgData name="Roberto Gallardo" userId="49a044883f185952" providerId="LiveId" clId="{5C494033-0E24-4ED6-8C62-AEF2F0232873}" dt="2023-03-06T23:21:03.938" v="154" actId="1076"/>
        <pc:sldMkLst>
          <pc:docMk/>
          <pc:sldMk cId="1380517306" sldId="288"/>
        </pc:sldMkLst>
        <pc:picChg chg="add mod">
          <ac:chgData name="Roberto Gallardo" userId="49a044883f185952" providerId="LiveId" clId="{5C494033-0E24-4ED6-8C62-AEF2F0232873}" dt="2023-03-06T23:21:03.938" v="154" actId="1076"/>
          <ac:picMkLst>
            <pc:docMk/>
            <pc:sldMk cId="1380517306" sldId="288"/>
            <ac:picMk id="7" creationId="{85E635F3-1BEF-1EA0-172A-837A9A8BF269}"/>
          </ac:picMkLst>
        </pc:picChg>
      </pc:sldChg>
      <pc:sldChg chg="addSp modSp mod">
        <pc:chgData name="Roberto Gallardo" userId="49a044883f185952" providerId="LiveId" clId="{5C494033-0E24-4ED6-8C62-AEF2F0232873}" dt="2023-03-06T23:21:19.848" v="164" actId="1076"/>
        <pc:sldMkLst>
          <pc:docMk/>
          <pc:sldMk cId="1388671151" sldId="289"/>
        </pc:sldMkLst>
        <pc:picChg chg="add mod">
          <ac:chgData name="Roberto Gallardo" userId="49a044883f185952" providerId="LiveId" clId="{5C494033-0E24-4ED6-8C62-AEF2F0232873}" dt="2023-03-06T23:21:19.848" v="164" actId="1076"/>
          <ac:picMkLst>
            <pc:docMk/>
            <pc:sldMk cId="1388671151" sldId="289"/>
            <ac:picMk id="7" creationId="{02D0A27D-C899-D472-4A73-59F50BFE8383}"/>
          </ac:picMkLst>
        </pc:picChg>
      </pc:sldChg>
      <pc:sldChg chg="addSp delSp modSp mod">
        <pc:chgData name="Roberto Gallardo" userId="49a044883f185952" providerId="LiveId" clId="{5C494033-0E24-4ED6-8C62-AEF2F0232873}" dt="2023-03-06T23:24:10.760" v="211"/>
        <pc:sldMkLst>
          <pc:docMk/>
          <pc:sldMk cId="2355376039" sldId="290"/>
        </pc:sldMkLst>
        <pc:graphicFrameChg chg="add mod">
          <ac:chgData name="Roberto Gallardo" userId="49a044883f185952" providerId="LiveId" clId="{5C494033-0E24-4ED6-8C62-AEF2F0232873}" dt="2023-03-06T23:24:10.760" v="211"/>
          <ac:graphicFrameMkLst>
            <pc:docMk/>
            <pc:sldMk cId="2355376039" sldId="290"/>
            <ac:graphicFrameMk id="9" creationId="{DC225C09-A06A-0485-55AB-5ABB52DA7071}"/>
          </ac:graphicFrameMkLst>
        </pc:graphicFrameChg>
        <pc:picChg chg="del">
          <ac:chgData name="Roberto Gallardo" userId="49a044883f185952" providerId="LiveId" clId="{5C494033-0E24-4ED6-8C62-AEF2F0232873}" dt="2023-03-06T23:24:10.276" v="210" actId="478"/>
          <ac:picMkLst>
            <pc:docMk/>
            <pc:sldMk cId="2355376039" sldId="290"/>
            <ac:picMk id="5" creationId="{FCDB5F06-3EE0-5E28-3034-D8B2E663BC2C}"/>
          </ac:picMkLst>
        </pc:picChg>
        <pc:picChg chg="add mod">
          <ac:chgData name="Roberto Gallardo" userId="49a044883f185952" providerId="LiveId" clId="{5C494033-0E24-4ED6-8C62-AEF2F0232873}" dt="2023-03-06T23:22:22.533" v="185" actId="1076"/>
          <ac:picMkLst>
            <pc:docMk/>
            <pc:sldMk cId="2355376039" sldId="290"/>
            <ac:picMk id="8" creationId="{8A69C60F-2739-1EB9-B5BE-3DD021F7E069}"/>
          </ac:picMkLst>
        </pc:picChg>
      </pc:sldChg>
      <pc:sldChg chg="addSp delSp modSp mod">
        <pc:chgData name="Roberto Gallardo" userId="49a044883f185952" providerId="LiveId" clId="{5C494033-0E24-4ED6-8C62-AEF2F0232873}" dt="2023-03-06T23:24:18.107" v="213"/>
        <pc:sldMkLst>
          <pc:docMk/>
          <pc:sldMk cId="3757257295" sldId="291"/>
        </pc:sldMkLst>
        <pc:graphicFrameChg chg="add mod">
          <ac:chgData name="Roberto Gallardo" userId="49a044883f185952" providerId="LiveId" clId="{5C494033-0E24-4ED6-8C62-AEF2F0232873}" dt="2023-03-06T23:24:18.107" v="213"/>
          <ac:graphicFrameMkLst>
            <pc:docMk/>
            <pc:sldMk cId="3757257295" sldId="291"/>
            <ac:graphicFrameMk id="9" creationId="{60DBEC97-280D-EF23-A2F5-8ABD1B07A127}"/>
          </ac:graphicFrameMkLst>
        </pc:graphicFrameChg>
        <pc:picChg chg="del">
          <ac:chgData name="Roberto Gallardo" userId="49a044883f185952" providerId="LiveId" clId="{5C494033-0E24-4ED6-8C62-AEF2F0232873}" dt="2023-03-06T23:24:13.750" v="212" actId="478"/>
          <ac:picMkLst>
            <pc:docMk/>
            <pc:sldMk cId="3757257295" sldId="291"/>
            <ac:picMk id="7" creationId="{75726715-FFE8-0EF9-8C83-B17292CAB2FD}"/>
          </ac:picMkLst>
        </pc:picChg>
        <pc:picChg chg="add mod">
          <ac:chgData name="Roberto Gallardo" userId="49a044883f185952" providerId="LiveId" clId="{5C494033-0E24-4ED6-8C62-AEF2F0232873}" dt="2023-03-06T23:23:22.402" v="209" actId="1076"/>
          <ac:picMkLst>
            <pc:docMk/>
            <pc:sldMk cId="3757257295" sldId="291"/>
            <ac:picMk id="8" creationId="{640A12E1-36E3-5C43-251C-39DF526FB77D}"/>
          </ac:picMkLst>
        </pc:picChg>
      </pc:sldChg>
      <pc:sldChg chg="addSp modSp mod">
        <pc:chgData name="Roberto Gallardo" userId="49a044883f185952" providerId="LiveId" clId="{5C494033-0E24-4ED6-8C62-AEF2F0232873}" dt="2023-03-06T23:20:34.774" v="140" actId="1076"/>
        <pc:sldMkLst>
          <pc:docMk/>
          <pc:sldMk cId="1259856727" sldId="292"/>
        </pc:sldMkLst>
        <pc:picChg chg="add mod">
          <ac:chgData name="Roberto Gallardo" userId="49a044883f185952" providerId="LiveId" clId="{5C494033-0E24-4ED6-8C62-AEF2F0232873}" dt="2023-03-06T23:20:34.774" v="140" actId="1076"/>
          <ac:picMkLst>
            <pc:docMk/>
            <pc:sldMk cId="1259856727" sldId="292"/>
            <ac:picMk id="7" creationId="{F17ACBE5-37CD-584A-7A99-A97EBF105D20}"/>
          </ac:picMkLst>
        </pc:picChg>
      </pc:sldChg>
      <pc:sldChg chg="addSp modSp mod">
        <pc:chgData name="Roberto Gallardo" userId="49a044883f185952" providerId="LiveId" clId="{5C494033-0E24-4ED6-8C62-AEF2F0232873}" dt="2023-03-06T23:17:47.394" v="61" actId="1076"/>
        <pc:sldMkLst>
          <pc:docMk/>
          <pc:sldMk cId="3324519687" sldId="293"/>
        </pc:sldMkLst>
        <pc:picChg chg="add mod">
          <ac:chgData name="Roberto Gallardo" userId="49a044883f185952" providerId="LiveId" clId="{5C494033-0E24-4ED6-8C62-AEF2F0232873}" dt="2023-03-06T23:17:47.394" v="61" actId="1076"/>
          <ac:picMkLst>
            <pc:docMk/>
            <pc:sldMk cId="3324519687" sldId="293"/>
            <ac:picMk id="7" creationId="{7AEAA3DE-357A-882C-334A-20B4E9D7F53F}"/>
          </ac:picMkLst>
        </pc:picChg>
      </pc:sldChg>
      <pc:sldChg chg="addSp modSp mod">
        <pc:chgData name="Roberto Gallardo" userId="49a044883f185952" providerId="LiveId" clId="{5C494033-0E24-4ED6-8C62-AEF2F0232873}" dt="2023-03-06T23:17:00.382" v="40" actId="1076"/>
        <pc:sldMkLst>
          <pc:docMk/>
          <pc:sldMk cId="3256182630" sldId="295"/>
        </pc:sldMkLst>
        <pc:picChg chg="add mod">
          <ac:chgData name="Roberto Gallardo" userId="49a044883f185952" providerId="LiveId" clId="{5C494033-0E24-4ED6-8C62-AEF2F0232873}" dt="2023-03-06T23:17:00.382" v="40" actId="1076"/>
          <ac:picMkLst>
            <pc:docMk/>
            <pc:sldMk cId="3256182630" sldId="295"/>
            <ac:picMk id="7" creationId="{B2FE0B1F-E4E5-E33A-67EC-BE732DCB29C8}"/>
          </ac:picMkLst>
        </pc:picChg>
      </pc:sldChg>
      <pc:sldChg chg="addSp modSp mod">
        <pc:chgData name="Roberto Gallardo" userId="49a044883f185952" providerId="LiveId" clId="{5C494033-0E24-4ED6-8C62-AEF2F0232873}" dt="2023-03-06T23:17:28.090" v="50" actId="1076"/>
        <pc:sldMkLst>
          <pc:docMk/>
          <pc:sldMk cId="4057156843" sldId="296"/>
        </pc:sldMkLst>
        <pc:picChg chg="add mod">
          <ac:chgData name="Roberto Gallardo" userId="49a044883f185952" providerId="LiveId" clId="{5C494033-0E24-4ED6-8C62-AEF2F0232873}" dt="2023-03-06T23:17:28.090" v="50" actId="1076"/>
          <ac:picMkLst>
            <pc:docMk/>
            <pc:sldMk cId="4057156843" sldId="296"/>
            <ac:picMk id="7" creationId="{CD452201-5859-C1DE-0A09-0211C60925A1}"/>
          </ac:picMkLst>
        </pc:picChg>
      </pc:sldChg>
      <pc:sldChg chg="addSp modSp mod">
        <pc:chgData name="Roberto Gallardo" userId="49a044883f185952" providerId="LiveId" clId="{5C494033-0E24-4ED6-8C62-AEF2F0232873}" dt="2023-03-06T23:16:37.822" v="31" actId="1076"/>
        <pc:sldMkLst>
          <pc:docMk/>
          <pc:sldMk cId="2080110827" sldId="297"/>
        </pc:sldMkLst>
        <pc:picChg chg="add mod">
          <ac:chgData name="Roberto Gallardo" userId="49a044883f185952" providerId="LiveId" clId="{5C494033-0E24-4ED6-8C62-AEF2F0232873}" dt="2023-03-06T23:16:37.822" v="31" actId="1076"/>
          <ac:picMkLst>
            <pc:docMk/>
            <pc:sldMk cId="2080110827" sldId="297"/>
            <ac:picMk id="6" creationId="{39B89A5A-4208-E7B6-F5C1-8B1C9CFD57F0}"/>
          </ac:picMkLst>
        </pc:picChg>
      </pc:sldChg>
      <pc:sldChg chg="addSp modSp mod">
        <pc:chgData name="Roberto Gallardo" userId="49a044883f185952" providerId="LiveId" clId="{5C494033-0E24-4ED6-8C62-AEF2F0232873}" dt="2023-03-06T23:16:15.597" v="21" actId="1076"/>
        <pc:sldMkLst>
          <pc:docMk/>
          <pc:sldMk cId="1532666867" sldId="298"/>
        </pc:sldMkLst>
        <pc:picChg chg="add mod">
          <ac:chgData name="Roberto Gallardo" userId="49a044883f185952" providerId="LiveId" clId="{5C494033-0E24-4ED6-8C62-AEF2F0232873}" dt="2023-03-06T23:16:15.597" v="21" actId="1076"/>
          <ac:picMkLst>
            <pc:docMk/>
            <pc:sldMk cId="1532666867" sldId="298"/>
            <ac:picMk id="6" creationId="{5880B4DE-8A99-CBE6-2E95-E91EE4BE3F71}"/>
          </ac:picMkLst>
        </pc:picChg>
      </pc:sldChg>
      <pc:sldChg chg="addSp modSp mod">
        <pc:chgData name="Roberto Gallardo" userId="49a044883f185952" providerId="LiveId" clId="{5C494033-0E24-4ED6-8C62-AEF2F0232873}" dt="2023-03-06T23:21:40.866" v="173" actId="1076"/>
        <pc:sldMkLst>
          <pc:docMk/>
          <pc:sldMk cId="1951376777" sldId="299"/>
        </pc:sldMkLst>
        <pc:picChg chg="add mod">
          <ac:chgData name="Roberto Gallardo" userId="49a044883f185952" providerId="LiveId" clId="{5C494033-0E24-4ED6-8C62-AEF2F0232873}" dt="2023-03-06T23:21:40.866" v="173" actId="1076"/>
          <ac:picMkLst>
            <pc:docMk/>
            <pc:sldMk cId="1951376777" sldId="299"/>
            <ac:picMk id="7" creationId="{E47B38D6-3086-1665-7728-D76064803E14}"/>
          </ac:picMkLst>
        </pc:picChg>
      </pc:sldChg>
      <pc:sldChg chg="modSp mod">
        <pc:chgData name="Roberto Gallardo" userId="49a044883f185952" providerId="LiveId" clId="{5C494033-0E24-4ED6-8C62-AEF2F0232873}" dt="2023-02-25T13:25:34.032" v="2" actId="20577"/>
        <pc:sldMkLst>
          <pc:docMk/>
          <pc:sldMk cId="1515423683" sldId="302"/>
        </pc:sldMkLst>
        <pc:spChg chg="mod">
          <ac:chgData name="Roberto Gallardo" userId="49a044883f185952" providerId="LiveId" clId="{5C494033-0E24-4ED6-8C62-AEF2F0232873}" dt="2023-02-25T13:25:34.032" v="2" actId="20577"/>
          <ac:spMkLst>
            <pc:docMk/>
            <pc:sldMk cId="1515423683" sldId="302"/>
            <ac:spMk id="5" creationId="{6AE302AC-8931-4144-BE52-DD1A8BA82462}"/>
          </ac:spMkLst>
        </pc:spChg>
        <pc:spChg chg="mod">
          <ac:chgData name="Roberto Gallardo" userId="49a044883f185952" providerId="LiveId" clId="{5C494033-0E24-4ED6-8C62-AEF2F0232873}" dt="2023-02-25T13:25:31.408" v="1" actId="20577"/>
          <ac:spMkLst>
            <pc:docMk/>
            <pc:sldMk cId="1515423683" sldId="302"/>
            <ac:spMk id="9" creationId="{E362A98F-7DCD-C67C-23CE-1BE182A133B4}"/>
          </ac:spMkLst>
        </pc:spChg>
      </pc:sldChg>
      <pc:sldChg chg="del">
        <pc:chgData name="Roberto Gallardo" userId="49a044883f185952" providerId="LiveId" clId="{5C494033-0E24-4ED6-8C62-AEF2F0232873}" dt="2023-02-25T14:59:04.914" v="4" actId="47"/>
        <pc:sldMkLst>
          <pc:docMk/>
          <pc:sldMk cId="2841628872" sldId="303"/>
        </pc:sldMkLst>
      </pc:sldChg>
      <pc:sldChg chg="del">
        <pc:chgData name="Roberto Gallardo" userId="49a044883f185952" providerId="LiveId" clId="{5C494033-0E24-4ED6-8C62-AEF2F0232873}" dt="2023-02-25T14:59:04.914" v="4" actId="47"/>
        <pc:sldMkLst>
          <pc:docMk/>
          <pc:sldMk cId="3084076302" sldId="304"/>
        </pc:sldMkLst>
      </pc:sldChg>
      <pc:sldChg chg="del">
        <pc:chgData name="Roberto Gallardo" userId="49a044883f185952" providerId="LiveId" clId="{5C494033-0E24-4ED6-8C62-AEF2F0232873}" dt="2023-02-25T14:59:04.914" v="4" actId="47"/>
        <pc:sldMkLst>
          <pc:docMk/>
          <pc:sldMk cId="473712435" sldId="305"/>
        </pc:sldMkLst>
      </pc:sldChg>
      <pc:sldChg chg="add">
        <pc:chgData name="Roberto Gallardo" userId="49a044883f185952" providerId="LiveId" clId="{5C494033-0E24-4ED6-8C62-AEF2F0232873}" dt="2023-02-25T14:59:02.187" v="3"/>
        <pc:sldMkLst>
          <pc:docMk/>
          <pc:sldMk cId="3386980235" sldId="307"/>
        </pc:sldMkLst>
      </pc:sldChg>
      <pc:sldChg chg="add">
        <pc:chgData name="Roberto Gallardo" userId="49a044883f185952" providerId="LiveId" clId="{5C494033-0E24-4ED6-8C62-AEF2F0232873}" dt="2023-02-25T14:59:02.187" v="3"/>
        <pc:sldMkLst>
          <pc:docMk/>
          <pc:sldMk cId="343594228" sldId="308"/>
        </pc:sldMkLst>
      </pc:sldChg>
      <pc:sldChg chg="add">
        <pc:chgData name="Roberto Gallardo" userId="49a044883f185952" providerId="LiveId" clId="{5C494033-0E24-4ED6-8C62-AEF2F0232873}" dt="2023-02-25T14:59:02.187" v="3"/>
        <pc:sldMkLst>
          <pc:docMk/>
          <pc:sldMk cId="1881666480" sldId="309"/>
        </pc:sldMkLst>
      </pc:sldChg>
      <pc:sldChg chg="add">
        <pc:chgData name="Roberto Gallardo" userId="49a044883f185952" providerId="LiveId" clId="{5C494033-0E24-4ED6-8C62-AEF2F0232873}" dt="2023-02-25T14:59:02.187" v="3"/>
        <pc:sldMkLst>
          <pc:docMk/>
          <pc:sldMk cId="564870505"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Lenoir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9E03AC7-CD64-AE75-FC26-7BB38AD3CF5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881666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9078C48-AE0C-4C1F-7EE3-99F6CCCD027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564870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6BCC2D2F-92EF-791A-062B-482B82F0D7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5880B4DE-8A99-CBE6-2E95-E91EE4BE3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9B89A5A-4208-E7B6-F5C1-8B1C9CFD57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8700"/>
            <a:ext cx="7600535" cy="5374772"/>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185FC2E-9ECC-8CDF-2551-37CF2B1E45B6}"/>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A picture containing chart&#10;&#10;Description automatically generated">
            <a:extLst>
              <a:ext uri="{FF2B5EF4-FFF2-40B4-BE49-F238E27FC236}">
                <a16:creationId xmlns:a16="http://schemas.microsoft.com/office/drawing/2014/main" id="{B2FE0B1F-E4E5-E33A-67EC-BE732DCB29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BD93CF6-23A6-BBEF-A157-5EC66AD9F22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CD452201-5859-C1DE-0A09-0211C60925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6" cy="4528618"/>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631E2971-6E7E-3898-053D-4D87C34365EA}"/>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7AEAA3DE-357A-882C-334A-20B4E9D7F5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515B68D-91EE-F0CD-40EB-364FF4E39818}"/>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map&#10;&#10;Description automatically generated">
            <a:extLst>
              <a:ext uri="{FF2B5EF4-FFF2-40B4-BE49-F238E27FC236}">
                <a16:creationId xmlns:a16="http://schemas.microsoft.com/office/drawing/2014/main" id="{871376C5-E76F-E364-9FC1-D118E0C882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ED82AC05-A9D4-B355-85A8-987D90C8DCA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510E7E72-0E42-8082-F55A-35D6583885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7A180758-F023-A440-8366-AF0ED863B29B}"/>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5FA67B72-BF22-BFFA-E47D-5FBCAD5194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01631"/>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4CB515CC-5F92-FE88-B18B-E6939B61189E}"/>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CB8B58AF-AFC3-9295-44F3-18F88895B7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9042"/>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8BB9ED17-0BC5-58F6-8390-74C70F0BF82F}"/>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10;&#10;Description automatically generated with medium confidence">
            <a:extLst>
              <a:ext uri="{FF2B5EF4-FFF2-40B4-BE49-F238E27FC236}">
                <a16:creationId xmlns:a16="http://schemas.microsoft.com/office/drawing/2014/main" id="{49E2E3FE-F0FB-5DB2-EC63-8149A5A18E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B7E97640-E62C-501D-A636-FE5EF3ADCACF}"/>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B11A65D2-38A3-D410-411B-88AC64A170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477984D7-B1A8-5E37-5D98-46377215016C}"/>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with medium confidence">
            <a:extLst>
              <a:ext uri="{FF2B5EF4-FFF2-40B4-BE49-F238E27FC236}">
                <a16:creationId xmlns:a16="http://schemas.microsoft.com/office/drawing/2014/main" id="{506FD699-3474-EA0C-C68E-9D187F4CD3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278538CB-7CFF-B3BF-1387-EA9055365E53}"/>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17ACBE5-37CD-584A-7A99-A97EBF105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5906" y="1416822"/>
            <a:ext cx="6372375" cy="45062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22559D8F-6CFB-33E0-4A69-DD69B08093DE}"/>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5E635F3-1BEF-1EA0-172A-837A9A8BF2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9EDAB704-6F10-0551-41C1-3FD9260ABEE2}"/>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02D0A27D-C899-D472-4A73-59F50BFE8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4321" y="1417895"/>
            <a:ext cx="6385279" cy="4515395"/>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2FB0355E-1F19-B04E-0DF6-DDB4E6163E44}"/>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E47B38D6-3086-1665-7728-D76064803E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382"/>
            <a:ext cx="6415173" cy="4536536"/>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10;&#10;Description automatically generated">
            <a:extLst>
              <a:ext uri="{FF2B5EF4-FFF2-40B4-BE49-F238E27FC236}">
                <a16:creationId xmlns:a16="http://schemas.microsoft.com/office/drawing/2014/main" id="{8A69C60F-2739-1EB9-B5BE-3DD021F7E0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pic>
        <p:nvPicPr>
          <p:cNvPr id="10" name="Picture 9">
            <a:extLst>
              <a:ext uri="{FF2B5EF4-FFF2-40B4-BE49-F238E27FC236}">
                <a16:creationId xmlns:a16="http://schemas.microsoft.com/office/drawing/2014/main" id="{517867B1-5A4F-0787-9F79-D5C28A159A9B}"/>
              </a:ext>
            </a:extLst>
          </p:cNvPr>
          <p:cNvPicPr preferRelativeResize="0"/>
          <p:nvPr/>
        </p:nvPicPr>
        <p:blipFill>
          <a:blip r:embed="rId3"/>
          <a:stretch>
            <a:fillRect/>
          </a:stretch>
        </p:blipFill>
        <p:spPr>
          <a:xfrm>
            <a:off x="152400" y="1749828"/>
            <a:ext cx="5390460" cy="38610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2E0A1BA-A221-39D7-47D3-98360FC3F21F}"/>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640A12E1-36E3-5C43-251C-39DF526FB7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45087" y="1410985"/>
            <a:ext cx="6394514" cy="4521926"/>
          </a:xfrm>
          <a:prstGeom prst="rect">
            <a:avLst/>
          </a:prstGeom>
        </p:spPr>
      </p:pic>
      <p:pic>
        <p:nvPicPr>
          <p:cNvPr id="10" name="Picture 9">
            <a:extLst>
              <a:ext uri="{FF2B5EF4-FFF2-40B4-BE49-F238E27FC236}">
                <a16:creationId xmlns:a16="http://schemas.microsoft.com/office/drawing/2014/main" id="{609FBABD-49DA-829C-7025-9D607E40A67A}"/>
              </a:ext>
            </a:extLst>
          </p:cNvPr>
          <p:cNvPicPr preferRelativeResize="0"/>
          <p:nvPr/>
        </p:nvPicPr>
        <p:blipFill>
          <a:blip r:embed="rId3"/>
          <a:stretch>
            <a:fillRect/>
          </a:stretch>
        </p:blipFill>
        <p:spPr>
          <a:xfrm>
            <a:off x="152399" y="1762247"/>
            <a:ext cx="5332371" cy="381940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5B7CC1F-06E3-CF07-2459-CFAB78B1495B}"/>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DCA1B87-4663-4AF1-C6FF-DFFDF0EC5C66}"/>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EDFD5A-492E-83E7-0B33-D65C93D437E5}"/>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2425414"/>
            <a:ext cx="1198148" cy="2067177"/>
            <a:chOff x="2775759" y="2424833"/>
            <a:chExt cx="1198148" cy="20671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313245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42483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424833"/>
              <a:ext cx="0" cy="7076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3374833" y="4075061"/>
              <a:ext cx="0" cy="416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204428" y="2639501"/>
            <a:ext cx="1198148" cy="1798960"/>
            <a:chOff x="5385750" y="2629663"/>
            <a:chExt cx="1198148" cy="1798960"/>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313634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6296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629663"/>
              <a:ext cx="0" cy="50668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5984824" y="4015746"/>
              <a:ext cx="0" cy="4103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121749" y="3133032"/>
            <a:ext cx="1198148" cy="1715890"/>
            <a:chOff x="8061789" y="2929698"/>
            <a:chExt cx="1198148" cy="1715890"/>
          </a:xfrm>
        </p:grpSpPr>
        <p:sp>
          <p:nvSpPr>
            <p:cNvPr id="21" name="TextBox 20">
              <a:extLst>
                <a:ext uri="{FF2B5EF4-FFF2-40B4-BE49-F238E27FC236}">
                  <a16:creationId xmlns:a16="http://schemas.microsoft.com/office/drawing/2014/main" id="{9A68ADBE-AECC-EE60-7E94-3675B33E08AE}"/>
                </a:ext>
              </a:extLst>
            </p:cNvPr>
            <p:cNvSpPr txBox="1"/>
            <p:nvPr/>
          </p:nvSpPr>
          <p:spPr>
            <a:xfrm>
              <a:off x="8061789" y="333989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3497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929698"/>
              <a:ext cx="0" cy="4102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8651338" y="4232556"/>
              <a:ext cx="0" cy="4046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1423043"/>
            <a:ext cx="1198148" cy="3614688"/>
            <a:chOff x="10485745" y="1266912"/>
            <a:chExt cx="1198148" cy="36146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5888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44.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2669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266912"/>
              <a:ext cx="0" cy="13218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481361"/>
              <a:ext cx="0" cy="14002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D6C140F-2952-04D3-2207-57D911E05CD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284430B-B006-44A9-A284-B75A2E36532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D7FD883-7CF4-E912-AC48-91EAC330FA4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14B333A-B88E-2E34-6B71-FB4BA7E7F5D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4AB54F6-907C-4A62-F63A-99E0CE5B1F4C}"/>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643F2611-6513-BD6A-E203-928313E31B63}"/>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49B8A69-F532-7D58-45D7-1D790BD7810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386980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D24C90C-FAA0-D118-3DFA-3A1548A289D3}"/>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43594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3</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7</cp:revision>
  <dcterms:created xsi:type="dcterms:W3CDTF">2022-07-04T13:32:28Z</dcterms:created>
  <dcterms:modified xsi:type="dcterms:W3CDTF">2023-03-06T23:24:38Z</dcterms:modified>
</cp:coreProperties>
</file>